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229" autoAdjust="0"/>
    <p:restoredTop sz="97681" autoAdjust="0"/>
  </p:normalViewPr>
  <p:slideViewPr>
    <p:cSldViewPr>
      <p:cViewPr varScale="1">
        <p:scale>
          <a:sx n="31" d="100"/>
          <a:sy n="31" d="100"/>
        </p:scale>
        <p:origin x="2670" y="114"/>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15.01.2024</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t>15.01.2024</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Première partie de l'histoire</a:t>
            </a:r>
          </a:p>
          <a:p>
            <a:pPr lvl="3"/>
            <a:r>
              <a:rPr lang="de-DE"/>
              <a:t>Vierte Ebene</a:t>
            </a:r>
          </a:p>
          <a:p>
            <a:pPr lvl="4"/>
            <a:r>
              <a:rPr lang="de-DE"/>
              <a:t>La cinquième scè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t>‹#›</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18" Type="http://schemas.openxmlformats.org/officeDocument/2006/relationships/image" Target="../media/image18.sv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17" Type="http://schemas.openxmlformats.org/officeDocument/2006/relationships/image" Target="../media/image17.png"/><Relationship Id="rId2" Type="http://schemas.openxmlformats.org/officeDocument/2006/relationships/slideLayout" Target="../slideLayouts/slideLayout2.xml"/><Relationship Id="rId16" Type="http://schemas.openxmlformats.org/officeDocument/2006/relationships/image" Target="../media/image16.sv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5768062"/>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Rapport du </a:t>
            </a:r>
            <a:r>
              <a:rPr lang="fr-FR" sz="3000" dirty="0" err="1">
                <a:solidFill>
                  <a:srgbClr val="002060"/>
                </a:solidFill>
              </a:rPr>
              <a:t>profane</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4906941"/>
            <a:ext cx="9690186"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t>
            </a:r>
            <a:r>
              <a:rPr lang="de-DE" sz="3000" dirty="0" err="1">
                <a:solidFill>
                  <a:srgbClr val="002060"/>
                </a:solidFill>
              </a:rPr>
              <a:t>Document d'</a:t>
            </a:r>
            <a:r>
              <a:rPr lang="de-DE" sz="3000" dirty="0">
                <a:solidFill>
                  <a:srgbClr val="002060"/>
                </a:solidFill>
              </a:rPr>
              <a:t>orientation</a:t>
            </a: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1" y="22304408"/>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éditation et certification - Extension aux prestataires de formation pour adultes</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20273" y="20931719"/>
            <a:ext cx="10789665"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Manuel d'accréditation</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err="1"/>
              <a:t>Coordination du </a:t>
            </a:r>
            <a:r>
              <a:rPr lang="de-DE" b="1" dirty="0"/>
              <a:t>projet</a:t>
            </a:r>
          </a:p>
          <a:p>
            <a:r>
              <a:rPr lang="de-DE" b="1" dirty="0"/>
              <a:t>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Certificats et accréditations européens pour les projets européen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8278336"/>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Numéro de référence :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ée du contrat </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is</a:t>
            </a:r>
            <a:r>
              <a:rPr lang="de-DE" sz="2800" dirty="0">
                <a:solidFill>
                  <a:schemeClr val="bg1"/>
                </a:solidFill>
              </a:rPr>
              <a:t>) </a:t>
            </a:r>
          </a:p>
          <a:p>
            <a:pPr marL="262298" indent="0" defTabSz="914400">
              <a:buNone/>
            </a:pPr>
            <a:endParaRPr lang="de-DE" sz="2800" dirty="0">
              <a:solidFill>
                <a:schemeClr val="bg1"/>
              </a:solidFill>
            </a:endParaRPr>
          </a:p>
        </p:txBody>
      </p:sp>
      <p:grpSp>
        <p:nvGrpSpPr>
          <p:cNvPr id="16" name="Gruppieren 15">
            <a:extLst>
              <a:ext uri="{FF2B5EF4-FFF2-40B4-BE49-F238E27FC236}">
                <a16:creationId xmlns:a16="http://schemas.microsoft.com/office/drawing/2014/main" id="{9FC1BA01-350A-44FC-84C3-127E18DE33B8}"/>
              </a:ext>
            </a:extLst>
          </p:cNvPr>
          <p:cNvGrpSpPr/>
          <p:nvPr/>
        </p:nvGrpSpPr>
        <p:grpSpPr>
          <a:xfrm>
            <a:off x="1473287" y="13338482"/>
            <a:ext cx="22313822" cy="1261593"/>
            <a:chOff x="1522911" y="15598690"/>
            <a:chExt cx="10789665" cy="7459875"/>
          </a:xfrm>
        </p:grpSpPr>
        <p:sp>
          <p:nvSpPr>
            <p:cNvPr id="43" name="Abgerundetes Rechteck 26">
              <a:extLst>
                <a:ext uri="{FF2B5EF4-FFF2-40B4-BE49-F238E27FC236}">
                  <a16:creationId xmlns:a16="http://schemas.microsoft.com/office/drawing/2014/main" id="{4DC6436B-B93F-4D94-9D29-F06E0A89B1FB}"/>
                </a:ext>
              </a:extLst>
            </p:cNvPr>
            <p:cNvSpPr/>
            <p:nvPr/>
          </p:nvSpPr>
          <p:spPr>
            <a:xfrm>
              <a:off x="1522911" y="15598690"/>
              <a:ext cx="10789665" cy="7382396"/>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2" name="Inhaltsplatzhalter 2">
              <a:extLst>
                <a:ext uri="{FF2B5EF4-FFF2-40B4-BE49-F238E27FC236}">
                  <a16:creationId xmlns:a16="http://schemas.microsoft.com/office/drawing/2014/main" id="{2AE184F0-F81F-42EF-AB18-BACC9FFC5448}"/>
                </a:ext>
              </a:extLst>
            </p:cNvPr>
            <p:cNvSpPr txBox="1">
              <a:spLocks/>
            </p:cNvSpPr>
            <p:nvPr/>
          </p:nvSpPr>
          <p:spPr>
            <a:xfrm>
              <a:off x="1610911" y="16273666"/>
              <a:ext cx="10384543" cy="6784899"/>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Afin de générer le projet de manière durable, 7 résultats sont produits dans le cadre du projet. Le projet est actuellement dans son dernier tiers et la partie principale est presque terminée.</a:t>
              </a:r>
              <a:endParaRPr lang="de-DE" sz="3200" dirty="0"/>
            </a:p>
          </p:txBody>
        </p:sp>
      </p:grpSp>
      <p:sp>
        <p:nvSpPr>
          <p:cNvPr id="48" name="Abgerundetes Rechteck 26">
            <a:extLst>
              <a:ext uri="{FF2B5EF4-FFF2-40B4-BE49-F238E27FC236}">
                <a16:creationId xmlns:a16="http://schemas.microsoft.com/office/drawing/2014/main" id="{227504DC-66B4-4A10-BBCA-B74808B4B8B1}"/>
              </a:ext>
            </a:extLst>
          </p:cNvPr>
          <p:cNvSpPr/>
          <p:nvPr/>
        </p:nvSpPr>
        <p:spPr>
          <a:xfrm>
            <a:off x="1595411" y="15601448"/>
            <a:ext cx="9976081"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cherche sur les </a:t>
            </a:r>
            <a:r>
              <a:rPr lang="de-DE" sz="3000" dirty="0" err="1">
                <a:solidFill>
                  <a:srgbClr val="002060"/>
                </a:solidFill>
              </a:rPr>
              <a:t>critères de </a:t>
            </a:r>
            <a:r>
              <a:rPr lang="de-DE" sz="3000" dirty="0">
                <a:solidFill>
                  <a:srgbClr val="002060"/>
                </a:solidFill>
              </a:rPr>
              <a:t>qualité, l'accréditation et les </a:t>
            </a:r>
            <a:r>
              <a:rPr lang="de-DE" sz="3000" dirty="0" err="1">
                <a:solidFill>
                  <a:srgbClr val="002060"/>
                </a:solidFill>
              </a:rPr>
              <a:t>structures de certification</a:t>
            </a:r>
            <a:endParaRPr lang="de-DE" sz="3000" dirty="0">
              <a:solidFill>
                <a:srgbClr val="002060"/>
              </a:solidFill>
            </a:endParaRP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349020" y="16528251"/>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ion </a:t>
            </a:r>
            <a:r>
              <a:rPr lang="de-DE" sz="3000" dirty="0" err="1">
                <a:solidFill>
                  <a:srgbClr val="002060"/>
                </a:solidFill>
              </a:rPr>
              <a:t>des processus d'</a:t>
            </a:r>
            <a:r>
              <a:rPr lang="de-DE" sz="3000" dirty="0">
                <a:solidFill>
                  <a:srgbClr val="002060"/>
                </a:solidFill>
              </a:rPr>
              <a:t>accréditation et de </a:t>
            </a:r>
            <a:r>
              <a:rPr lang="de-DE" sz="3000" dirty="0" err="1">
                <a:solidFill>
                  <a:srgbClr val="002060"/>
                </a:solidFill>
              </a:rPr>
              <a:t>certification</a:t>
            </a:r>
            <a:endParaRPr lang="de-DE" sz="3000" dirty="0">
              <a:solidFill>
                <a:srgbClr val="002060"/>
              </a:solidFill>
            </a:endParaRP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43012"/>
            <a:chOff x="4047476" y="24428586"/>
            <a:chExt cx="9140600" cy="6456083"/>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1"/>
              <a:ext cx="3002961" cy="621811"/>
            </a:xfrm>
            <a:prstGeom prst="rect">
              <a:avLst/>
            </a:prstGeom>
          </p:spPr>
          <p:txBody>
            <a:bodyPr wrap="square">
              <a:spAutoFit/>
            </a:bodyPr>
            <a:lstStyle/>
            <a:p>
              <a:r>
                <a:rPr lang="de-DE" sz="2000" dirty="0"/>
                <a:t>Université de Paderborn Allemagne (</a:t>
              </a:r>
              <a:r>
                <a:rPr lang="de-DE" sz="2000" dirty="0" err="1"/>
                <a:t>Coordinateur</a:t>
              </a:r>
              <a:r>
                <a:rPr lang="de-DE" sz="2000" dirty="0"/>
                <a:t>)</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8"/>
              <a:ext cx="2618628" cy="1074603"/>
            </a:xfrm>
            <a:prstGeom prst="rect">
              <a:avLst/>
            </a:prstGeom>
          </p:spPr>
          <p:txBody>
            <a:bodyPr wrap="square">
              <a:spAutoFit/>
            </a:bodyPr>
            <a:lstStyle/>
            <a:p>
              <a:r>
                <a:rPr lang="de-DE" sz="2000" dirty="0" err="1"/>
                <a:t>Ingenious </a:t>
              </a:r>
              <a:r>
                <a:rPr lang="de-DE" sz="2000" dirty="0"/>
                <a:t>Knowledge GmbH Allemagne</a:t>
              </a:r>
            </a:p>
            <a:p>
              <a:r>
                <a:rPr lang="de-DE" sz="2000" dirty="0"/>
                <a:t>(</a:t>
              </a:r>
              <a:r>
                <a:rPr lang="de-DE" sz="2000" dirty="0" err="1"/>
                <a:t>Partenaire </a:t>
              </a:r>
              <a:r>
                <a:rPr lang="de-DE" sz="2000" dirty="0"/>
                <a:t>technique)</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 Croatia </a:t>
              </a:r>
              <a:r>
                <a:rPr lang="de-DE" sz="2000" dirty="0"/>
                <a:t>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 </a:t>
              </a:r>
              <a:r>
                <a:rPr lang="de-DE" sz="2000" dirty="0"/>
                <a:t>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hypre </a:t>
              </a:r>
              <a:r>
                <a:rPr lang="el-GR" sz="2000" dirty="0"/>
                <a:t>Κύπρος (</a:t>
              </a:r>
              <a:r>
                <a:rPr lang="de-DE" sz="2000" dirty="0" err="1"/>
                <a:t>Kýpros</a:t>
              </a:r>
              <a:r>
                <a:rPr lang="de-DE" sz="2000" dirty="0"/>
                <a:t>) Nicosie</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4317782" y="24618380"/>
              <a:ext cx="4968274" cy="1044520"/>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Partenaire du projet CERT de l'UE </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 </a:t>
              </a:r>
              <a:r>
                <a:rPr lang="de-DE" sz="2000" dirty="0"/>
                <a:t>da </a:t>
              </a:r>
              <a:r>
                <a:rPr lang="de-DE" sz="2000" dirty="0" err="1"/>
                <a:t>Terceira </a:t>
              </a:r>
              <a:r>
                <a:rPr lang="de-DE" sz="2000" dirty="0"/>
                <a:t>Idade PortugalCentro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085077" y="5136927"/>
            <a:ext cx="21895715" cy="7909858"/>
          </a:xfrm>
          <a:prstGeom prst="rect">
            <a:avLst/>
          </a:prstGeom>
        </p:spPr>
        <p:txBody>
          <a:bodyPr wrap="square">
            <a:spAutoFit/>
          </a:bodyPr>
          <a:lstStyle/>
          <a:p>
            <a:r>
              <a:rPr lang="en-GB" sz="4000" b="1" dirty="0">
                <a:solidFill>
                  <a:srgbClr val="000000"/>
                </a:solidFill>
                <a:latin typeface="Roboto"/>
              </a:rPr>
              <a:t>Le projet EU-CERT</a:t>
            </a:r>
          </a:p>
          <a:p>
            <a:r>
              <a:rPr lang="en-GB" sz="3600" dirty="0">
                <a:solidFill>
                  <a:srgbClr val="000000"/>
                </a:solidFill>
                <a:latin typeface="Roboto"/>
              </a:rPr>
              <a:t>Le projet s'efforce d'améliorer la qualité de l'éducation des adultes et aide les prestataires d'éducation des adultes à obtenir des résultats de haute qualité, applicables dans la pratique et basés sur des projets remarquables dans le domaine de l'éducation des adultes. À cette fin, le consortium du projet prévoit de développer un mécanisme de contrôle de l'efficacité des projets d'éducation des adultes. Cela se fera par le biais d'un système d'accréditation basé sur des critères clairs et un processus d'accréditation solide. Il soutient la consolidation des valeurs partagées dans l'éducation des adultes et jette les bases de l'engagement civique promu par l'excellence dans l'éducation des adultes. En outre, il encourage les éducateurs d'adultes européens à participer à un réseau d'éducation des adultes de haute qualité dont les normes sont garanties. L'introduction d'un système d'accréditation pour les projets d'éducation des adultes contribue à la réalisation des idéaux d'ERASMUS+ et crée une nouvelle voie pour la transparence et la visibilité en Europe. Il permettra à tous les citoyens européens d'identifier les ressources d'éducation des adultes de classe mondiale grâce aux informations et aux normes d'accréditation. Il s'agit là d'une base essentielle pour le développement futur de l'assurance qualité dans l'éducation des adultes en Europe.</a:t>
            </a:r>
            <a:endParaRPr lang="de-DE" sz="3200" dirty="0"/>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826401" y="16162746"/>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1</a:t>
            </a:r>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3048333" y="17682518"/>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20778" y="19120173"/>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éditation Conception et programmation du site web et de la base de données</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0979717" y="19802450"/>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3134984" y="21631253"/>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3326432"/>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5</a:t>
            </a:r>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4337574"/>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5234335"/>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7</a:t>
            </a:r>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545060" y="17819852"/>
            <a:ext cx="803960" cy="1473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3"/>
          </p:cNvCxnSpPr>
          <p:nvPr/>
        </p:nvCxnSpPr>
        <p:spPr>
          <a:xfrm flipH="1">
            <a:off x="12514924" y="19342010"/>
            <a:ext cx="834096" cy="125524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5"/>
            <a:endCxn id="6" idx="1"/>
          </p:cNvCxnSpPr>
          <p:nvPr/>
        </p:nvCxnSpPr>
        <p:spPr>
          <a:xfrm>
            <a:off x="12732248" y="21461942"/>
            <a:ext cx="703423" cy="454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632929" y="23290745"/>
            <a:ext cx="802742" cy="3204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933616" y="24298540"/>
            <a:ext cx="741233" cy="3237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1018428" y="25309682"/>
            <a:ext cx="2355734"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7917605"/>
            <a:ext cx="8974585" cy="2597534"/>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728366" y="28389291"/>
            <a:ext cx="8221722" cy="1793992"/>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Les partenaires du projet travaillent d'arrache-pied sur les résultats finaux du projet afin que le projet dans son ensemble puisse faire état de grandes réussites.</a:t>
            </a:r>
            <a:endParaRPr lang="de-DE" sz="3200" dirty="0"/>
          </a:p>
        </p:txBody>
      </p:sp>
      <p:pic>
        <p:nvPicPr>
          <p:cNvPr id="80" name="Grafik 79" descr="Häkchen Silhouette">
            <a:extLst>
              <a:ext uri="{FF2B5EF4-FFF2-40B4-BE49-F238E27FC236}">
                <a16:creationId xmlns:a16="http://schemas.microsoft.com/office/drawing/2014/main" id="{4674CFF8-52AC-36BC-4C7B-E4FB401A33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040893" y="17039223"/>
            <a:ext cx="1191774" cy="1191774"/>
          </a:xfrm>
          <a:prstGeom prst="rect">
            <a:avLst/>
          </a:prstGeom>
        </p:spPr>
      </p:pic>
      <p:pic>
        <p:nvPicPr>
          <p:cNvPr id="81" name="Grafik 80" descr="Häkchen Silhouette">
            <a:extLst>
              <a:ext uri="{FF2B5EF4-FFF2-40B4-BE49-F238E27FC236}">
                <a16:creationId xmlns:a16="http://schemas.microsoft.com/office/drawing/2014/main" id="{AABD38B1-0D9F-532F-EEC2-9EC33E89DA2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177061" y="18565634"/>
            <a:ext cx="1191774" cy="1191774"/>
          </a:xfrm>
          <a:prstGeom prst="rect">
            <a:avLst/>
          </a:prstGeom>
        </p:spPr>
      </p:pic>
      <p:pic>
        <p:nvPicPr>
          <p:cNvPr id="82" name="Grafik 81" descr="Häkchen Silhouette">
            <a:extLst>
              <a:ext uri="{FF2B5EF4-FFF2-40B4-BE49-F238E27FC236}">
                <a16:creationId xmlns:a16="http://schemas.microsoft.com/office/drawing/2014/main" id="{1ED6FB5D-2C55-2E72-708A-7B2338047C9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2075802" y="20800475"/>
            <a:ext cx="1191774" cy="1191774"/>
          </a:xfrm>
          <a:prstGeom prst="rect">
            <a:avLst/>
          </a:prstGeom>
        </p:spPr>
      </p:pic>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1</TotalTime>
  <Words>449</Words>
  <Application>Microsoft Office PowerPoint</Application>
  <PresentationFormat>Custom</PresentationFormat>
  <Paragraphs>37</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 Pre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keywords>, docId:0CAB4BCF2256A18E96114694FDF71E74</cp:keywords>
  <cp:lastModifiedBy>Zuzana Kusá</cp:lastModifiedBy>
  <cp:revision>373</cp:revision>
  <cp:lastPrinted>2015-08-12T11:23:49Z</cp:lastPrinted>
  <dcterms:created xsi:type="dcterms:W3CDTF">2010-08-25T14:48:58Z</dcterms:created>
  <dcterms:modified xsi:type="dcterms:W3CDTF">2024-01-15T10:13:42Z</dcterms:modified>
</cp:coreProperties>
</file>